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36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94" y="8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6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6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580287"/>
          </a:xfrm>
        </p:spPr>
        <p:txBody>
          <a:bodyPr/>
          <a:lstStyle>
            <a:lvl1pPr>
              <a:defRPr sz="377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1" y="2156103"/>
            <a:ext cx="6408737" cy="1450397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8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914942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32590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16655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1" y="334801"/>
            <a:ext cx="7993063" cy="435376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3"/>
            <a:ext cx="7993064" cy="338554"/>
          </a:xfrm>
        </p:spPr>
        <p:txBody>
          <a:bodyPr>
            <a:noAutofit/>
          </a:bodyPr>
          <a:lstStyle>
            <a:lvl1pPr>
              <a:defRPr sz="2169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5882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2507780"/>
            <a:ext cx="7993063" cy="116057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377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700" y="3856268"/>
            <a:ext cx="7993063" cy="29007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188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48477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6" y="6559239"/>
            <a:ext cx="892873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1" y="2106614"/>
            <a:ext cx="5186365" cy="21624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848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754"/>
              </a:spcBef>
            </a:pP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848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1" y="4547459"/>
            <a:ext cx="5186365" cy="14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754"/>
              </a:spcBef>
            </a:pP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848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943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697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84346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1"/>
            <a:ext cx="7994650" cy="43537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1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9719"/>
            <a:ext cx="899285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8620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48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848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8620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June 2019</a:t>
            </a:fld>
            <a:endParaRPr lang="en-GB" sz="848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1" y="6479719"/>
            <a:ext cx="480901" cy="13048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848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848" smtClean="0">
                <a:solidFill>
                  <a:schemeClr val="bg2"/>
                </a:solidFill>
              </a:rPr>
              <a:pPr/>
              <a:t>‹#›</a:t>
            </a:fld>
            <a:endParaRPr lang="en-GB" sz="848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1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1a994c1198b68233f06360a7" descr="{&quot;HashCode&quot;:-1488328267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D2970BA8-C521-41EB-A3FE-B1AED78B8108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212667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sldNum="0" hdr="0" dt="0"/>
  <p:txStyles>
    <p:titleStyle>
      <a:lvl1pPr algn="l" defTabSz="862049" rtl="0" eaLnBrk="1" latinLnBrk="0" hangingPunct="1">
        <a:spcBef>
          <a:spcPct val="0"/>
        </a:spcBef>
        <a:buNone/>
        <a:defRPr sz="282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None/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167621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336738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3pPr>
      <a:lvl4pPr marL="504359" indent="-167621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4pPr>
      <a:lvl5pPr marL="673475" indent="-169117" algn="l" defTabSz="862049" rtl="0" eaLnBrk="1" latinLnBrk="0" hangingPunct="1">
        <a:spcBef>
          <a:spcPts val="377"/>
        </a:spcBef>
        <a:buClr>
          <a:schemeClr val="accent4"/>
        </a:buClr>
        <a:buFont typeface="Wingdings" panose="05000000000000000000" pitchFamily="2" charset="2"/>
        <a:buChar char="§"/>
        <a:defRPr sz="1320" kern="1200">
          <a:solidFill>
            <a:schemeClr val="tx1"/>
          </a:solidFill>
          <a:latin typeface="+mn-lt"/>
          <a:ea typeface="+mn-ea"/>
          <a:cs typeface="+mn-cs"/>
        </a:defRPr>
      </a:lvl5pPr>
      <a:lvl6pPr marL="2370634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6pPr>
      <a:lvl7pPr marL="2801658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7pPr>
      <a:lvl8pPr marL="3232682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8pPr>
      <a:lvl9pPr marL="3663707" indent="-215513" algn="l" defTabSz="8620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9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73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97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21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46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70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94" algn="l" defTabSz="862049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51885" y="1685387"/>
            <a:ext cx="7997390" cy="403552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>
                <a:spcBef>
                  <a:spcPts val="283"/>
                </a:spcBef>
                <a:buClr>
                  <a:srgbClr val="FF6600"/>
                </a:buClr>
                <a:defRPr/>
              </a:pPr>
              <a:r>
                <a:rPr lang="zh-CN" sz="1400" b="1">
                  <a:solidFill>
                    <a:srgbClr val="FFFFFF"/>
                  </a:solidFill>
                  <a:latin typeface="FZZhunYuan-M02S" panose="03000509000000000000" pitchFamily="65" charset="-122"/>
                  <a:ea typeface="FZZhunYuan-M02S" panose="03000509000000000000" pitchFamily="65" charset="-122"/>
                </a:rPr>
                <a:t>价值和益处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fontAlgn="base">
                <a:spcBef>
                  <a:spcPts val="283"/>
                </a:spcBef>
                <a:buClr>
                  <a:srgbClr val="E64B00"/>
                </a:buClr>
                <a:defRPr/>
              </a:pPr>
              <a:r>
                <a:rPr lang="zh-CN" sz="1400" b="1" noProof="1">
                  <a:solidFill>
                    <a:srgbClr val="FFFFFF"/>
                  </a:solidFill>
                  <a:latin typeface="FZZhunYuan-M02S" panose="03000509000000000000" pitchFamily="65" charset="-122"/>
                  <a:ea typeface="FZZhunYuan-M02S" panose="03000509000000000000" pitchFamily="65" charset="-122"/>
                  <a:cs typeface="Arial" charset="0"/>
                </a:rPr>
                <a:t>描述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fontAlgn="base"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3040" y="197654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040" y="197654"/>
                        <a:ext cx="1496" cy="1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51885" y="493173"/>
            <a:ext cx="8152938" cy="492443"/>
          </a:xfrm>
        </p:spPr>
        <p:txBody>
          <a:bodyPr/>
          <a:lstStyle/>
          <a:p>
            <a:r>
              <a:rPr lang="zh-CN" sz="3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减少停机时间、提高生产效率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353558"/>
            <a:ext cx="7540309" cy="290358"/>
          </a:xfrm>
        </p:spPr>
        <p:txBody>
          <a:bodyPr/>
          <a:lstStyle/>
          <a:p>
            <a:r>
              <a:rPr lang="zh-CN" sz="18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电控间隔进给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51885" y="5803857"/>
            <a:ext cx="752234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sz="8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价值：提高效率，有效维护</a:t>
            </a:r>
          </a:p>
          <a:p>
            <a:r>
              <a:rPr lang="zh-CN" sz="8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设备：码垛/卸跺设备</a:t>
            </a:r>
          </a:p>
          <a:p>
            <a:r>
              <a:rPr lang="zh-CN" sz="8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产品目录代码：</a:t>
            </a:r>
            <a:r>
              <a:rPr lang="fr-FR" altLang="zh-CN" sz="800">
                <a:latin typeface="FZZhunYuan-M02S" panose="03000509000000000000" pitchFamily="65" charset="-122"/>
                <a:ea typeface="FZZhunYuan-M02S" panose="03000509000000000000" pitchFamily="65" charset="-122"/>
              </a:rPr>
              <a:t>EOL</a:t>
            </a:r>
            <a:r>
              <a:rPr lang="zh-CN" sz="800">
                <a:latin typeface="+mn-lt"/>
                <a:ea typeface="FZZhunYuan-M02S" panose="03000509000000000000" pitchFamily="65" charset="-122"/>
              </a:rPr>
              <a:t>024</a:t>
            </a:r>
            <a:endParaRPr lang="zh-CN" sz="800" dirty="0">
              <a:latin typeface="+mn-lt"/>
              <a:ea typeface="FZZhunYuan-M02S" panose="03000509000000000000" pitchFamily="65" charset="-122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273516" y="208130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62049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1885" y="2073869"/>
            <a:ext cx="389225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>
                <a:latin typeface="FZZhunYuan-M02S" panose="03000509000000000000" pitchFamily="65" charset="-122"/>
                <a:ea typeface="FZZhunYuan-M02S" panose="03000509000000000000" pitchFamily="65" charset="-122"/>
              </a:rPr>
              <a:t>简化维护。没有辊子，易于维护；更快的部件更换程序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>
                <a:latin typeface="FZZhunYuan-M02S" panose="03000509000000000000" pitchFamily="65" charset="-122"/>
                <a:ea typeface="FZZhunYuan-M02S" panose="03000509000000000000" pitchFamily="65" charset="-122"/>
              </a:rPr>
              <a:t>提高包装稳定性，更轻柔地搬运包装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>
                <a:latin typeface="FZZhunYuan-M02S" panose="03000509000000000000" pitchFamily="65" charset="-122"/>
                <a:ea typeface="FZZhunYuan-M02S" panose="03000509000000000000" pitchFamily="65" charset="-122"/>
              </a:rPr>
              <a:t>采用无刷电机配置，充分保证生产灵活性和充裕的电控包装间隔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>
                <a:latin typeface="FZZhunYuan-M02S" panose="03000509000000000000" pitchFamily="65" charset="-122"/>
                <a:ea typeface="FZZhunYuan-M02S" panose="03000509000000000000" pitchFamily="65" charset="-122"/>
              </a:rPr>
              <a:t>发挥最佳设备速度，减少因垛层成形故障等问题造成的设备停机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021" y="2087143"/>
            <a:ext cx="389225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通过低摩擦塑料链条和电控间隔原理（取消了包装隔板，可更好地控制包装和优化速度）实现包装的行列成形和旋转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采用无刷电机配置，充分保证生产灵活性和充裕的电控包装间隔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200" dirty="0"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适用于所有</a:t>
            </a:r>
            <a:r>
              <a:rPr lang="zh-CN" sz="1200" dirty="0">
                <a:ea typeface="FZZhunYuan-M02S" panose="03000509000000000000" pitchFamily="65" charset="-122"/>
              </a:rPr>
              <a:t>IBP Kombi</a:t>
            </a:r>
            <a:r>
              <a:rPr lang="zh-CN" sz="1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码垛机 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4642134E-1F0F-4AD6-A08F-5F15C5160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66" y="3726472"/>
            <a:ext cx="2461738" cy="1741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4AD35BC2-0824-4557-A147-2066B65BB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966" y="3744217"/>
            <a:ext cx="2502577" cy="1767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6277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5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FZZhunYuan-M02S</vt:lpstr>
      <vt:lpstr>SimSun</vt:lpstr>
      <vt:lpstr>Arial</vt:lpstr>
      <vt:lpstr>Wingdings</vt:lpstr>
      <vt:lpstr>1_NewGeboCermex_Template_4x3_v10_FINAL</vt:lpstr>
      <vt:lpstr>think-cell Folie</vt:lpstr>
      <vt:lpstr>减少停机时间、提高生产效率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29</cp:revision>
  <cp:lastPrinted>2017-09-01T14:01:41Z</cp:lastPrinted>
  <dcterms:created xsi:type="dcterms:W3CDTF">2017-07-10T14:51:51Z</dcterms:created>
  <dcterms:modified xsi:type="dcterms:W3CDTF">2019-06-26T14:5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6:43:51.0343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